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9" r:id="rId4"/>
  </p:sldMasterIdLst>
  <p:notesMasterIdLst>
    <p:notesMasterId r:id="rId16"/>
  </p:notesMasterIdLst>
  <p:handoutMasterIdLst>
    <p:handoutMasterId r:id="rId17"/>
  </p:handoutMasterIdLst>
  <p:sldIdLst>
    <p:sldId id="369" r:id="rId5"/>
    <p:sldId id="370" r:id="rId6"/>
    <p:sldId id="371" r:id="rId7"/>
    <p:sldId id="372" r:id="rId8"/>
    <p:sldId id="373" r:id="rId9"/>
    <p:sldId id="377" r:id="rId10"/>
    <p:sldId id="374" r:id="rId11"/>
    <p:sldId id="375" r:id="rId12"/>
    <p:sldId id="376" r:id="rId13"/>
    <p:sldId id="378" r:id="rId14"/>
    <p:sldId id="379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056" autoAdjust="0"/>
  </p:normalViewPr>
  <p:slideViewPr>
    <p:cSldViewPr snapToGrid="0">
      <p:cViewPr varScale="1">
        <p:scale>
          <a:sx n="96" d="100"/>
          <a:sy n="96" d="100"/>
        </p:scale>
        <p:origin x="130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3F5190-DD08-422A-8794-0FA6B1E5A162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5CD4719-3729-4C7F-A127-CB53AB9A7970}">
      <dgm:prSet phldrT="[Text]"/>
      <dgm:spPr/>
      <dgm:t>
        <a:bodyPr/>
        <a:lstStyle/>
        <a:p>
          <a:r>
            <a:rPr lang="en-US" dirty="0"/>
            <a:t>Name</a:t>
          </a:r>
        </a:p>
        <a:p>
          <a:r>
            <a:rPr lang="en-US" dirty="0"/>
            <a:t>Project Manager</a:t>
          </a:r>
        </a:p>
      </dgm:t>
    </dgm:pt>
    <dgm:pt modelId="{51533AC7-F4ED-4660-B22E-87C4F3F309AA}" type="parTrans" cxnId="{6C56E1D5-D283-4465-AE37-7D32BD9A032C}">
      <dgm:prSet/>
      <dgm:spPr/>
      <dgm:t>
        <a:bodyPr/>
        <a:lstStyle/>
        <a:p>
          <a:endParaRPr lang="en-US"/>
        </a:p>
      </dgm:t>
    </dgm:pt>
    <dgm:pt modelId="{5FBA6AF9-B218-4080-8CD9-B6DEF47313CC}" type="sibTrans" cxnId="{6C56E1D5-D283-4465-AE37-7D32BD9A032C}">
      <dgm:prSet/>
      <dgm:spPr/>
      <dgm:t>
        <a:bodyPr/>
        <a:lstStyle/>
        <a:p>
          <a:endParaRPr lang="en-US"/>
        </a:p>
      </dgm:t>
    </dgm:pt>
    <dgm:pt modelId="{F426F28E-E468-4876-8EAA-71F361F426E0}">
      <dgm:prSet phldrT="[Text]"/>
      <dgm:spPr/>
      <dgm:t>
        <a:bodyPr/>
        <a:lstStyle/>
        <a:p>
          <a:r>
            <a:rPr lang="en-US" dirty="0"/>
            <a:t>Name</a:t>
          </a:r>
        </a:p>
        <a:p>
          <a:r>
            <a:rPr lang="en-US" dirty="0"/>
            <a:t>Role</a:t>
          </a:r>
        </a:p>
      </dgm:t>
    </dgm:pt>
    <dgm:pt modelId="{C97789E3-A7E9-43F7-8E01-365793781333}" type="parTrans" cxnId="{49294C5E-612B-4265-9EB5-EAA49D625640}">
      <dgm:prSet/>
      <dgm:spPr/>
      <dgm:t>
        <a:bodyPr/>
        <a:lstStyle/>
        <a:p>
          <a:endParaRPr lang="en-US"/>
        </a:p>
      </dgm:t>
    </dgm:pt>
    <dgm:pt modelId="{1E9A3FAC-D287-4147-89FE-A11A35464B71}" type="sibTrans" cxnId="{49294C5E-612B-4265-9EB5-EAA49D625640}">
      <dgm:prSet/>
      <dgm:spPr/>
      <dgm:t>
        <a:bodyPr/>
        <a:lstStyle/>
        <a:p>
          <a:endParaRPr lang="en-US"/>
        </a:p>
      </dgm:t>
    </dgm:pt>
    <dgm:pt modelId="{FDE4FF2C-51DB-4317-8CCE-882E470E2EA5}">
      <dgm:prSet phldrT="[Text]"/>
      <dgm:spPr/>
      <dgm:t>
        <a:bodyPr/>
        <a:lstStyle/>
        <a:p>
          <a:r>
            <a:rPr lang="en-US" dirty="0"/>
            <a:t>Name</a:t>
          </a:r>
        </a:p>
        <a:p>
          <a:r>
            <a:rPr lang="en-US" dirty="0"/>
            <a:t>Role</a:t>
          </a:r>
        </a:p>
      </dgm:t>
    </dgm:pt>
    <dgm:pt modelId="{878FF12E-393B-4EB2-BD3B-191066F26D71}" type="parTrans" cxnId="{8C2A3F54-2640-4992-B578-C79FAF0E348C}">
      <dgm:prSet/>
      <dgm:spPr/>
      <dgm:t>
        <a:bodyPr/>
        <a:lstStyle/>
        <a:p>
          <a:endParaRPr lang="en-US"/>
        </a:p>
      </dgm:t>
    </dgm:pt>
    <dgm:pt modelId="{BF581268-BC07-493A-9C03-829E91699412}" type="sibTrans" cxnId="{8C2A3F54-2640-4992-B578-C79FAF0E348C}">
      <dgm:prSet/>
      <dgm:spPr/>
      <dgm:t>
        <a:bodyPr/>
        <a:lstStyle/>
        <a:p>
          <a:endParaRPr lang="en-US"/>
        </a:p>
      </dgm:t>
    </dgm:pt>
    <dgm:pt modelId="{A1B15E63-5D8F-4E0F-83F5-F47381A5BBBE}">
      <dgm:prSet phldrT="[Text]"/>
      <dgm:spPr/>
      <dgm:t>
        <a:bodyPr/>
        <a:lstStyle/>
        <a:p>
          <a:r>
            <a:rPr lang="en-US" dirty="0"/>
            <a:t>Name</a:t>
          </a:r>
        </a:p>
        <a:p>
          <a:r>
            <a:rPr lang="en-US" dirty="0"/>
            <a:t>Role</a:t>
          </a:r>
        </a:p>
      </dgm:t>
    </dgm:pt>
    <dgm:pt modelId="{FC574834-4A0D-4855-B6C7-9AFE20FEAAF4}" type="parTrans" cxnId="{F3AD7C76-017B-4290-928D-971CFD63BED0}">
      <dgm:prSet/>
      <dgm:spPr/>
      <dgm:t>
        <a:bodyPr/>
        <a:lstStyle/>
        <a:p>
          <a:endParaRPr lang="en-US"/>
        </a:p>
      </dgm:t>
    </dgm:pt>
    <dgm:pt modelId="{046C2221-20A9-4216-82DE-491E155FB823}" type="sibTrans" cxnId="{F3AD7C76-017B-4290-928D-971CFD63BED0}">
      <dgm:prSet/>
      <dgm:spPr/>
      <dgm:t>
        <a:bodyPr/>
        <a:lstStyle/>
        <a:p>
          <a:endParaRPr lang="en-US"/>
        </a:p>
      </dgm:t>
    </dgm:pt>
    <dgm:pt modelId="{726C46A6-F201-459A-AD61-97B4B152A7E2}" type="pres">
      <dgm:prSet presAssocID="{953F5190-DD08-422A-8794-0FA6B1E5A16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370C518-695F-4063-95EE-C2282030E531}" type="pres">
      <dgm:prSet presAssocID="{E5CD4719-3729-4C7F-A127-CB53AB9A7970}" presName="hierRoot1" presStyleCnt="0">
        <dgm:presLayoutVars>
          <dgm:hierBranch val="init"/>
        </dgm:presLayoutVars>
      </dgm:prSet>
      <dgm:spPr/>
    </dgm:pt>
    <dgm:pt modelId="{1B832AD3-C8B5-44B0-9189-078CE2463F70}" type="pres">
      <dgm:prSet presAssocID="{E5CD4719-3729-4C7F-A127-CB53AB9A7970}" presName="rootComposite1" presStyleCnt="0"/>
      <dgm:spPr/>
    </dgm:pt>
    <dgm:pt modelId="{71807C22-55BE-44CD-A7CA-83FD30A9D13F}" type="pres">
      <dgm:prSet presAssocID="{E5CD4719-3729-4C7F-A127-CB53AB9A7970}" presName="rootText1" presStyleLbl="node0" presStyleIdx="0" presStyleCnt="1">
        <dgm:presLayoutVars>
          <dgm:chPref val="3"/>
        </dgm:presLayoutVars>
      </dgm:prSet>
      <dgm:spPr/>
    </dgm:pt>
    <dgm:pt modelId="{2B8663A2-D446-443D-A567-2D1D3493A795}" type="pres">
      <dgm:prSet presAssocID="{E5CD4719-3729-4C7F-A127-CB53AB9A7970}" presName="rootConnector1" presStyleLbl="node1" presStyleIdx="0" presStyleCnt="0"/>
      <dgm:spPr/>
    </dgm:pt>
    <dgm:pt modelId="{1C60699C-3B52-4D54-B90C-288528A7C217}" type="pres">
      <dgm:prSet presAssocID="{E5CD4719-3729-4C7F-A127-CB53AB9A7970}" presName="hierChild2" presStyleCnt="0"/>
      <dgm:spPr/>
    </dgm:pt>
    <dgm:pt modelId="{23EF6DB7-5DA9-4EEF-AFB3-6B1532E10FC5}" type="pres">
      <dgm:prSet presAssocID="{C97789E3-A7E9-43F7-8E01-365793781333}" presName="Name37" presStyleLbl="parChTrans1D2" presStyleIdx="0" presStyleCnt="3"/>
      <dgm:spPr/>
    </dgm:pt>
    <dgm:pt modelId="{88FB50F8-2FB9-49A8-B4C5-AA0B732F42CC}" type="pres">
      <dgm:prSet presAssocID="{F426F28E-E468-4876-8EAA-71F361F426E0}" presName="hierRoot2" presStyleCnt="0">
        <dgm:presLayoutVars>
          <dgm:hierBranch val="init"/>
        </dgm:presLayoutVars>
      </dgm:prSet>
      <dgm:spPr/>
    </dgm:pt>
    <dgm:pt modelId="{C3388026-5789-44BC-993F-7F0E7A3521C1}" type="pres">
      <dgm:prSet presAssocID="{F426F28E-E468-4876-8EAA-71F361F426E0}" presName="rootComposite" presStyleCnt="0"/>
      <dgm:spPr/>
    </dgm:pt>
    <dgm:pt modelId="{ECF0110B-CBFC-44EF-ABED-0D018B01B7C0}" type="pres">
      <dgm:prSet presAssocID="{F426F28E-E468-4876-8EAA-71F361F426E0}" presName="rootText" presStyleLbl="node2" presStyleIdx="0" presStyleCnt="3">
        <dgm:presLayoutVars>
          <dgm:chPref val="3"/>
        </dgm:presLayoutVars>
      </dgm:prSet>
      <dgm:spPr/>
    </dgm:pt>
    <dgm:pt modelId="{1234134D-060D-4194-95A9-9BE4BA2453DE}" type="pres">
      <dgm:prSet presAssocID="{F426F28E-E468-4876-8EAA-71F361F426E0}" presName="rootConnector" presStyleLbl="node2" presStyleIdx="0" presStyleCnt="3"/>
      <dgm:spPr/>
    </dgm:pt>
    <dgm:pt modelId="{90005CF1-0239-4BD0-B321-ABB7EEE5577D}" type="pres">
      <dgm:prSet presAssocID="{F426F28E-E468-4876-8EAA-71F361F426E0}" presName="hierChild4" presStyleCnt="0"/>
      <dgm:spPr/>
    </dgm:pt>
    <dgm:pt modelId="{A6B843FA-9CE6-48AF-A33A-1C4AB40A1FD5}" type="pres">
      <dgm:prSet presAssocID="{F426F28E-E468-4876-8EAA-71F361F426E0}" presName="hierChild5" presStyleCnt="0"/>
      <dgm:spPr/>
    </dgm:pt>
    <dgm:pt modelId="{4EFABDDA-9DDA-4025-A202-2666A528A8C3}" type="pres">
      <dgm:prSet presAssocID="{878FF12E-393B-4EB2-BD3B-191066F26D71}" presName="Name37" presStyleLbl="parChTrans1D2" presStyleIdx="1" presStyleCnt="3"/>
      <dgm:spPr/>
    </dgm:pt>
    <dgm:pt modelId="{D197AE2E-132D-4EE7-AB2E-9D8876F265C2}" type="pres">
      <dgm:prSet presAssocID="{FDE4FF2C-51DB-4317-8CCE-882E470E2EA5}" presName="hierRoot2" presStyleCnt="0">
        <dgm:presLayoutVars>
          <dgm:hierBranch val="init"/>
        </dgm:presLayoutVars>
      </dgm:prSet>
      <dgm:spPr/>
    </dgm:pt>
    <dgm:pt modelId="{ACCAEED2-65FC-49BD-8D23-CCC0DAC49FAE}" type="pres">
      <dgm:prSet presAssocID="{FDE4FF2C-51DB-4317-8CCE-882E470E2EA5}" presName="rootComposite" presStyleCnt="0"/>
      <dgm:spPr/>
    </dgm:pt>
    <dgm:pt modelId="{A216FEEE-420A-4BE6-B42F-A6B33DF525D5}" type="pres">
      <dgm:prSet presAssocID="{FDE4FF2C-51DB-4317-8CCE-882E470E2EA5}" presName="rootText" presStyleLbl="node2" presStyleIdx="1" presStyleCnt="3">
        <dgm:presLayoutVars>
          <dgm:chPref val="3"/>
        </dgm:presLayoutVars>
      </dgm:prSet>
      <dgm:spPr/>
    </dgm:pt>
    <dgm:pt modelId="{2A66CF31-0E8A-40B0-99A5-A6C0A56D4C58}" type="pres">
      <dgm:prSet presAssocID="{FDE4FF2C-51DB-4317-8CCE-882E470E2EA5}" presName="rootConnector" presStyleLbl="node2" presStyleIdx="1" presStyleCnt="3"/>
      <dgm:spPr/>
    </dgm:pt>
    <dgm:pt modelId="{7C033D72-0BC1-4E85-92FC-EAE775FCF8A5}" type="pres">
      <dgm:prSet presAssocID="{FDE4FF2C-51DB-4317-8CCE-882E470E2EA5}" presName="hierChild4" presStyleCnt="0"/>
      <dgm:spPr/>
    </dgm:pt>
    <dgm:pt modelId="{5CD0FADE-7543-4EBC-B7E7-08D204F61C26}" type="pres">
      <dgm:prSet presAssocID="{FDE4FF2C-51DB-4317-8CCE-882E470E2EA5}" presName="hierChild5" presStyleCnt="0"/>
      <dgm:spPr/>
    </dgm:pt>
    <dgm:pt modelId="{1540CAEC-219D-4D70-AA59-E7C1FB5C17AF}" type="pres">
      <dgm:prSet presAssocID="{FC574834-4A0D-4855-B6C7-9AFE20FEAAF4}" presName="Name37" presStyleLbl="parChTrans1D2" presStyleIdx="2" presStyleCnt="3"/>
      <dgm:spPr/>
    </dgm:pt>
    <dgm:pt modelId="{F2F031E0-24A8-40D6-A7E6-3D4E963EE5F2}" type="pres">
      <dgm:prSet presAssocID="{A1B15E63-5D8F-4E0F-83F5-F47381A5BBBE}" presName="hierRoot2" presStyleCnt="0">
        <dgm:presLayoutVars>
          <dgm:hierBranch val="init"/>
        </dgm:presLayoutVars>
      </dgm:prSet>
      <dgm:spPr/>
    </dgm:pt>
    <dgm:pt modelId="{1AFEF29A-7B08-4117-9624-FB7EFEE98A9D}" type="pres">
      <dgm:prSet presAssocID="{A1B15E63-5D8F-4E0F-83F5-F47381A5BBBE}" presName="rootComposite" presStyleCnt="0"/>
      <dgm:spPr/>
    </dgm:pt>
    <dgm:pt modelId="{0361E5B3-AF5F-4FF0-B7E5-C7723FC373CA}" type="pres">
      <dgm:prSet presAssocID="{A1B15E63-5D8F-4E0F-83F5-F47381A5BBBE}" presName="rootText" presStyleLbl="node2" presStyleIdx="2" presStyleCnt="3">
        <dgm:presLayoutVars>
          <dgm:chPref val="3"/>
        </dgm:presLayoutVars>
      </dgm:prSet>
      <dgm:spPr/>
    </dgm:pt>
    <dgm:pt modelId="{3CEEB520-16DF-4E96-8760-515B3425F184}" type="pres">
      <dgm:prSet presAssocID="{A1B15E63-5D8F-4E0F-83F5-F47381A5BBBE}" presName="rootConnector" presStyleLbl="node2" presStyleIdx="2" presStyleCnt="3"/>
      <dgm:spPr/>
    </dgm:pt>
    <dgm:pt modelId="{BB314F57-0068-4AC6-B960-F8C373D5529D}" type="pres">
      <dgm:prSet presAssocID="{A1B15E63-5D8F-4E0F-83F5-F47381A5BBBE}" presName="hierChild4" presStyleCnt="0"/>
      <dgm:spPr/>
    </dgm:pt>
    <dgm:pt modelId="{A457B18E-7EAB-4C8C-AD81-6AADC6DD665C}" type="pres">
      <dgm:prSet presAssocID="{A1B15E63-5D8F-4E0F-83F5-F47381A5BBBE}" presName="hierChild5" presStyleCnt="0"/>
      <dgm:spPr/>
    </dgm:pt>
    <dgm:pt modelId="{3EFDB563-B2DB-4462-9C73-03BBD88922AB}" type="pres">
      <dgm:prSet presAssocID="{E5CD4719-3729-4C7F-A127-CB53AB9A7970}" presName="hierChild3" presStyleCnt="0"/>
      <dgm:spPr/>
    </dgm:pt>
  </dgm:ptLst>
  <dgm:cxnLst>
    <dgm:cxn modelId="{9740D411-00E6-4051-A881-951065F30FAD}" type="presOf" srcId="{E5CD4719-3729-4C7F-A127-CB53AB9A7970}" destId="{2B8663A2-D446-443D-A567-2D1D3493A795}" srcOrd="1" destOrd="0" presId="urn:microsoft.com/office/officeart/2005/8/layout/orgChart1"/>
    <dgm:cxn modelId="{2754795D-7211-45DA-B13F-FAF34E652768}" type="presOf" srcId="{FC574834-4A0D-4855-B6C7-9AFE20FEAAF4}" destId="{1540CAEC-219D-4D70-AA59-E7C1FB5C17AF}" srcOrd="0" destOrd="0" presId="urn:microsoft.com/office/officeart/2005/8/layout/orgChart1"/>
    <dgm:cxn modelId="{49294C5E-612B-4265-9EB5-EAA49D625640}" srcId="{E5CD4719-3729-4C7F-A127-CB53AB9A7970}" destId="{F426F28E-E468-4876-8EAA-71F361F426E0}" srcOrd="0" destOrd="0" parTransId="{C97789E3-A7E9-43F7-8E01-365793781333}" sibTransId="{1E9A3FAC-D287-4147-89FE-A11A35464B71}"/>
    <dgm:cxn modelId="{13D2EC43-5FB1-4DFA-8AAB-251424BB58BA}" type="presOf" srcId="{953F5190-DD08-422A-8794-0FA6B1E5A162}" destId="{726C46A6-F201-459A-AD61-97B4B152A7E2}" srcOrd="0" destOrd="0" presId="urn:microsoft.com/office/officeart/2005/8/layout/orgChart1"/>
    <dgm:cxn modelId="{56078765-6A73-4652-B770-8C38523EA2D9}" type="presOf" srcId="{E5CD4719-3729-4C7F-A127-CB53AB9A7970}" destId="{71807C22-55BE-44CD-A7CA-83FD30A9D13F}" srcOrd="0" destOrd="0" presId="urn:microsoft.com/office/officeart/2005/8/layout/orgChart1"/>
    <dgm:cxn modelId="{6BB3CD4B-E6ED-4B2A-8182-BF2AE22FF4FD}" type="presOf" srcId="{C97789E3-A7E9-43F7-8E01-365793781333}" destId="{23EF6DB7-5DA9-4EEF-AFB3-6B1532E10FC5}" srcOrd="0" destOrd="0" presId="urn:microsoft.com/office/officeart/2005/8/layout/orgChart1"/>
    <dgm:cxn modelId="{BA40B74F-F53D-41E7-9004-D06AD82AE5B4}" type="presOf" srcId="{A1B15E63-5D8F-4E0F-83F5-F47381A5BBBE}" destId="{0361E5B3-AF5F-4FF0-B7E5-C7723FC373CA}" srcOrd="0" destOrd="0" presId="urn:microsoft.com/office/officeart/2005/8/layout/orgChart1"/>
    <dgm:cxn modelId="{8C2A3F54-2640-4992-B578-C79FAF0E348C}" srcId="{E5CD4719-3729-4C7F-A127-CB53AB9A7970}" destId="{FDE4FF2C-51DB-4317-8CCE-882E470E2EA5}" srcOrd="1" destOrd="0" parTransId="{878FF12E-393B-4EB2-BD3B-191066F26D71}" sibTransId="{BF581268-BC07-493A-9C03-829E91699412}"/>
    <dgm:cxn modelId="{F3AD7C76-017B-4290-928D-971CFD63BED0}" srcId="{E5CD4719-3729-4C7F-A127-CB53AB9A7970}" destId="{A1B15E63-5D8F-4E0F-83F5-F47381A5BBBE}" srcOrd="2" destOrd="0" parTransId="{FC574834-4A0D-4855-B6C7-9AFE20FEAAF4}" sibTransId="{046C2221-20A9-4216-82DE-491E155FB823}"/>
    <dgm:cxn modelId="{4577E057-316E-43F1-AFB1-2E8358139892}" type="presOf" srcId="{878FF12E-393B-4EB2-BD3B-191066F26D71}" destId="{4EFABDDA-9DDA-4025-A202-2666A528A8C3}" srcOrd="0" destOrd="0" presId="urn:microsoft.com/office/officeart/2005/8/layout/orgChart1"/>
    <dgm:cxn modelId="{199D4F91-EFA4-4D66-8E30-0FE7241DBEEE}" type="presOf" srcId="{F426F28E-E468-4876-8EAA-71F361F426E0}" destId="{ECF0110B-CBFC-44EF-ABED-0D018B01B7C0}" srcOrd="0" destOrd="0" presId="urn:microsoft.com/office/officeart/2005/8/layout/orgChart1"/>
    <dgm:cxn modelId="{91ACCABE-3309-425E-99EB-0D57BA608427}" type="presOf" srcId="{F426F28E-E468-4876-8EAA-71F361F426E0}" destId="{1234134D-060D-4194-95A9-9BE4BA2453DE}" srcOrd="1" destOrd="0" presId="urn:microsoft.com/office/officeart/2005/8/layout/orgChart1"/>
    <dgm:cxn modelId="{0D323AC8-802D-493D-8A92-A90B0F64DF5B}" type="presOf" srcId="{FDE4FF2C-51DB-4317-8CCE-882E470E2EA5}" destId="{A216FEEE-420A-4BE6-B42F-A6B33DF525D5}" srcOrd="0" destOrd="0" presId="urn:microsoft.com/office/officeart/2005/8/layout/orgChart1"/>
    <dgm:cxn modelId="{6C56E1D5-D283-4465-AE37-7D32BD9A032C}" srcId="{953F5190-DD08-422A-8794-0FA6B1E5A162}" destId="{E5CD4719-3729-4C7F-A127-CB53AB9A7970}" srcOrd="0" destOrd="0" parTransId="{51533AC7-F4ED-4660-B22E-87C4F3F309AA}" sibTransId="{5FBA6AF9-B218-4080-8CD9-B6DEF47313CC}"/>
    <dgm:cxn modelId="{6167BDD7-9E3B-433E-9C3C-8BA012A04A27}" type="presOf" srcId="{A1B15E63-5D8F-4E0F-83F5-F47381A5BBBE}" destId="{3CEEB520-16DF-4E96-8760-515B3425F184}" srcOrd="1" destOrd="0" presId="urn:microsoft.com/office/officeart/2005/8/layout/orgChart1"/>
    <dgm:cxn modelId="{F35EC4EF-B8A1-48D0-BD2D-B27E89C7C9EE}" type="presOf" srcId="{FDE4FF2C-51DB-4317-8CCE-882E470E2EA5}" destId="{2A66CF31-0E8A-40B0-99A5-A6C0A56D4C58}" srcOrd="1" destOrd="0" presId="urn:microsoft.com/office/officeart/2005/8/layout/orgChart1"/>
    <dgm:cxn modelId="{A5FD2DAE-8A06-49AB-BDE9-A9471C940732}" type="presParOf" srcId="{726C46A6-F201-459A-AD61-97B4B152A7E2}" destId="{E370C518-695F-4063-95EE-C2282030E531}" srcOrd="0" destOrd="0" presId="urn:microsoft.com/office/officeart/2005/8/layout/orgChart1"/>
    <dgm:cxn modelId="{629884E8-2322-402D-B1E0-B11495C25014}" type="presParOf" srcId="{E370C518-695F-4063-95EE-C2282030E531}" destId="{1B832AD3-C8B5-44B0-9189-078CE2463F70}" srcOrd="0" destOrd="0" presId="urn:microsoft.com/office/officeart/2005/8/layout/orgChart1"/>
    <dgm:cxn modelId="{D0B49C6E-B9B7-4499-AE94-3F81942F1583}" type="presParOf" srcId="{1B832AD3-C8B5-44B0-9189-078CE2463F70}" destId="{71807C22-55BE-44CD-A7CA-83FD30A9D13F}" srcOrd="0" destOrd="0" presId="urn:microsoft.com/office/officeart/2005/8/layout/orgChart1"/>
    <dgm:cxn modelId="{244258C9-E476-4746-8FFA-EFA96F172BC2}" type="presParOf" srcId="{1B832AD3-C8B5-44B0-9189-078CE2463F70}" destId="{2B8663A2-D446-443D-A567-2D1D3493A795}" srcOrd="1" destOrd="0" presId="urn:microsoft.com/office/officeart/2005/8/layout/orgChart1"/>
    <dgm:cxn modelId="{A45CABE7-EF59-4E99-B88C-C7BDCDFE3E2D}" type="presParOf" srcId="{E370C518-695F-4063-95EE-C2282030E531}" destId="{1C60699C-3B52-4D54-B90C-288528A7C217}" srcOrd="1" destOrd="0" presId="urn:microsoft.com/office/officeart/2005/8/layout/orgChart1"/>
    <dgm:cxn modelId="{BD9D3A07-6299-4039-88DA-37534713FAA8}" type="presParOf" srcId="{1C60699C-3B52-4D54-B90C-288528A7C217}" destId="{23EF6DB7-5DA9-4EEF-AFB3-6B1532E10FC5}" srcOrd="0" destOrd="0" presId="urn:microsoft.com/office/officeart/2005/8/layout/orgChart1"/>
    <dgm:cxn modelId="{C0C65F68-1A76-4477-96F5-1EB56A260E4F}" type="presParOf" srcId="{1C60699C-3B52-4D54-B90C-288528A7C217}" destId="{88FB50F8-2FB9-49A8-B4C5-AA0B732F42CC}" srcOrd="1" destOrd="0" presId="urn:microsoft.com/office/officeart/2005/8/layout/orgChart1"/>
    <dgm:cxn modelId="{37B3EB3E-E443-48EF-99EB-D86F8C239C5D}" type="presParOf" srcId="{88FB50F8-2FB9-49A8-B4C5-AA0B732F42CC}" destId="{C3388026-5789-44BC-993F-7F0E7A3521C1}" srcOrd="0" destOrd="0" presId="urn:microsoft.com/office/officeart/2005/8/layout/orgChart1"/>
    <dgm:cxn modelId="{0DA21972-765B-4CC3-88C3-F8DE8C60631D}" type="presParOf" srcId="{C3388026-5789-44BC-993F-7F0E7A3521C1}" destId="{ECF0110B-CBFC-44EF-ABED-0D018B01B7C0}" srcOrd="0" destOrd="0" presId="urn:microsoft.com/office/officeart/2005/8/layout/orgChart1"/>
    <dgm:cxn modelId="{3FD0F3D0-B0F8-4D67-A7F7-9C48EB803FAE}" type="presParOf" srcId="{C3388026-5789-44BC-993F-7F0E7A3521C1}" destId="{1234134D-060D-4194-95A9-9BE4BA2453DE}" srcOrd="1" destOrd="0" presId="urn:microsoft.com/office/officeart/2005/8/layout/orgChart1"/>
    <dgm:cxn modelId="{A32F8B5D-9BF0-49D5-98F7-4604DB817B0E}" type="presParOf" srcId="{88FB50F8-2FB9-49A8-B4C5-AA0B732F42CC}" destId="{90005CF1-0239-4BD0-B321-ABB7EEE5577D}" srcOrd="1" destOrd="0" presId="urn:microsoft.com/office/officeart/2005/8/layout/orgChart1"/>
    <dgm:cxn modelId="{A3697AF4-6530-4DBF-B87E-3B0D079B62BF}" type="presParOf" srcId="{88FB50F8-2FB9-49A8-B4C5-AA0B732F42CC}" destId="{A6B843FA-9CE6-48AF-A33A-1C4AB40A1FD5}" srcOrd="2" destOrd="0" presId="urn:microsoft.com/office/officeart/2005/8/layout/orgChart1"/>
    <dgm:cxn modelId="{4B7AB6F3-9E2C-4314-9296-620DDD3E33F9}" type="presParOf" srcId="{1C60699C-3B52-4D54-B90C-288528A7C217}" destId="{4EFABDDA-9DDA-4025-A202-2666A528A8C3}" srcOrd="2" destOrd="0" presId="urn:microsoft.com/office/officeart/2005/8/layout/orgChart1"/>
    <dgm:cxn modelId="{FF02D53A-8DB0-48C0-BFCD-60291F3067EA}" type="presParOf" srcId="{1C60699C-3B52-4D54-B90C-288528A7C217}" destId="{D197AE2E-132D-4EE7-AB2E-9D8876F265C2}" srcOrd="3" destOrd="0" presId="urn:microsoft.com/office/officeart/2005/8/layout/orgChart1"/>
    <dgm:cxn modelId="{DD2D7187-E9B9-40D6-AC3D-48C62B23CA6E}" type="presParOf" srcId="{D197AE2E-132D-4EE7-AB2E-9D8876F265C2}" destId="{ACCAEED2-65FC-49BD-8D23-CCC0DAC49FAE}" srcOrd="0" destOrd="0" presId="urn:microsoft.com/office/officeart/2005/8/layout/orgChart1"/>
    <dgm:cxn modelId="{633861F1-3799-4027-9A65-429FE61D8EC8}" type="presParOf" srcId="{ACCAEED2-65FC-49BD-8D23-CCC0DAC49FAE}" destId="{A216FEEE-420A-4BE6-B42F-A6B33DF525D5}" srcOrd="0" destOrd="0" presId="urn:microsoft.com/office/officeart/2005/8/layout/orgChart1"/>
    <dgm:cxn modelId="{97A35ED7-D815-40C0-8F70-58DA06FE3ECF}" type="presParOf" srcId="{ACCAEED2-65FC-49BD-8D23-CCC0DAC49FAE}" destId="{2A66CF31-0E8A-40B0-99A5-A6C0A56D4C58}" srcOrd="1" destOrd="0" presId="urn:microsoft.com/office/officeart/2005/8/layout/orgChart1"/>
    <dgm:cxn modelId="{D844B3BB-3AF4-4621-85A7-AD15FF9FC9B2}" type="presParOf" srcId="{D197AE2E-132D-4EE7-AB2E-9D8876F265C2}" destId="{7C033D72-0BC1-4E85-92FC-EAE775FCF8A5}" srcOrd="1" destOrd="0" presId="urn:microsoft.com/office/officeart/2005/8/layout/orgChart1"/>
    <dgm:cxn modelId="{C4A46971-7223-477F-86E2-803E87FABFE4}" type="presParOf" srcId="{D197AE2E-132D-4EE7-AB2E-9D8876F265C2}" destId="{5CD0FADE-7543-4EBC-B7E7-08D204F61C26}" srcOrd="2" destOrd="0" presId="urn:microsoft.com/office/officeart/2005/8/layout/orgChart1"/>
    <dgm:cxn modelId="{C9E489A0-58F6-480E-AB64-693AFD515C08}" type="presParOf" srcId="{1C60699C-3B52-4D54-B90C-288528A7C217}" destId="{1540CAEC-219D-4D70-AA59-E7C1FB5C17AF}" srcOrd="4" destOrd="0" presId="urn:microsoft.com/office/officeart/2005/8/layout/orgChart1"/>
    <dgm:cxn modelId="{A23C58BC-8F48-43A0-8BD0-C7CBB17DD0DE}" type="presParOf" srcId="{1C60699C-3B52-4D54-B90C-288528A7C217}" destId="{F2F031E0-24A8-40D6-A7E6-3D4E963EE5F2}" srcOrd="5" destOrd="0" presId="urn:microsoft.com/office/officeart/2005/8/layout/orgChart1"/>
    <dgm:cxn modelId="{516A2428-62A3-424D-90F7-9893C996D9BB}" type="presParOf" srcId="{F2F031E0-24A8-40D6-A7E6-3D4E963EE5F2}" destId="{1AFEF29A-7B08-4117-9624-FB7EFEE98A9D}" srcOrd="0" destOrd="0" presId="urn:microsoft.com/office/officeart/2005/8/layout/orgChart1"/>
    <dgm:cxn modelId="{6619ACA7-4094-4BA3-B20F-48BD67A87561}" type="presParOf" srcId="{1AFEF29A-7B08-4117-9624-FB7EFEE98A9D}" destId="{0361E5B3-AF5F-4FF0-B7E5-C7723FC373CA}" srcOrd="0" destOrd="0" presId="urn:microsoft.com/office/officeart/2005/8/layout/orgChart1"/>
    <dgm:cxn modelId="{846590C8-7EDB-48C0-9121-DD37C5841D3C}" type="presParOf" srcId="{1AFEF29A-7B08-4117-9624-FB7EFEE98A9D}" destId="{3CEEB520-16DF-4E96-8760-515B3425F184}" srcOrd="1" destOrd="0" presId="urn:microsoft.com/office/officeart/2005/8/layout/orgChart1"/>
    <dgm:cxn modelId="{1BD350BE-8742-4FFE-AFEE-F4737AEE7809}" type="presParOf" srcId="{F2F031E0-24A8-40D6-A7E6-3D4E963EE5F2}" destId="{BB314F57-0068-4AC6-B960-F8C373D5529D}" srcOrd="1" destOrd="0" presId="urn:microsoft.com/office/officeart/2005/8/layout/orgChart1"/>
    <dgm:cxn modelId="{149AB176-9598-458D-9F5C-3B9C409D1745}" type="presParOf" srcId="{F2F031E0-24A8-40D6-A7E6-3D4E963EE5F2}" destId="{A457B18E-7EAB-4C8C-AD81-6AADC6DD665C}" srcOrd="2" destOrd="0" presId="urn:microsoft.com/office/officeart/2005/8/layout/orgChart1"/>
    <dgm:cxn modelId="{B2E8C8EA-A290-46F9-8232-8AC8C8B99C78}" type="presParOf" srcId="{E370C518-695F-4063-95EE-C2282030E531}" destId="{3EFDB563-B2DB-4462-9C73-03BBD88922A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40CAEC-219D-4D70-AA59-E7C1FB5C17AF}">
      <dsp:nvSpPr>
        <dsp:cNvPr id="0" name=""/>
        <dsp:cNvSpPr/>
      </dsp:nvSpPr>
      <dsp:spPr>
        <a:xfrm>
          <a:off x="5257800" y="1228522"/>
          <a:ext cx="2970509" cy="5155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7771"/>
              </a:lnTo>
              <a:lnTo>
                <a:pt x="2970509" y="257771"/>
              </a:lnTo>
              <a:lnTo>
                <a:pt x="2970509" y="515542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FABDDA-9DDA-4025-A202-2666A528A8C3}">
      <dsp:nvSpPr>
        <dsp:cNvPr id="0" name=""/>
        <dsp:cNvSpPr/>
      </dsp:nvSpPr>
      <dsp:spPr>
        <a:xfrm>
          <a:off x="5212080" y="1228522"/>
          <a:ext cx="91440" cy="51554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15542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EF6DB7-5DA9-4EEF-AFB3-6B1532E10FC5}">
      <dsp:nvSpPr>
        <dsp:cNvPr id="0" name=""/>
        <dsp:cNvSpPr/>
      </dsp:nvSpPr>
      <dsp:spPr>
        <a:xfrm>
          <a:off x="2287290" y="1228522"/>
          <a:ext cx="2970509" cy="515542"/>
        </a:xfrm>
        <a:custGeom>
          <a:avLst/>
          <a:gdLst/>
          <a:ahLst/>
          <a:cxnLst/>
          <a:rect l="0" t="0" r="0" b="0"/>
          <a:pathLst>
            <a:path>
              <a:moveTo>
                <a:pt x="2970509" y="0"/>
              </a:moveTo>
              <a:lnTo>
                <a:pt x="2970509" y="257771"/>
              </a:lnTo>
              <a:lnTo>
                <a:pt x="0" y="257771"/>
              </a:lnTo>
              <a:lnTo>
                <a:pt x="0" y="515542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807C22-55BE-44CD-A7CA-83FD30A9D13F}">
      <dsp:nvSpPr>
        <dsp:cNvPr id="0" name=""/>
        <dsp:cNvSpPr/>
      </dsp:nvSpPr>
      <dsp:spPr>
        <a:xfrm>
          <a:off x="4030316" y="1038"/>
          <a:ext cx="2454966" cy="12274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Name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ject Manager</a:t>
          </a:r>
        </a:p>
      </dsp:txBody>
      <dsp:txXfrm>
        <a:off x="4030316" y="1038"/>
        <a:ext cx="2454966" cy="1227483"/>
      </dsp:txXfrm>
    </dsp:sp>
    <dsp:sp modelId="{ECF0110B-CBFC-44EF-ABED-0D018B01B7C0}">
      <dsp:nvSpPr>
        <dsp:cNvPr id="0" name=""/>
        <dsp:cNvSpPr/>
      </dsp:nvSpPr>
      <dsp:spPr>
        <a:xfrm>
          <a:off x="1059807" y="1744064"/>
          <a:ext cx="2454966" cy="12274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Name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Role</a:t>
          </a:r>
        </a:p>
      </dsp:txBody>
      <dsp:txXfrm>
        <a:off x="1059807" y="1744064"/>
        <a:ext cx="2454966" cy="1227483"/>
      </dsp:txXfrm>
    </dsp:sp>
    <dsp:sp modelId="{A216FEEE-420A-4BE6-B42F-A6B33DF525D5}">
      <dsp:nvSpPr>
        <dsp:cNvPr id="0" name=""/>
        <dsp:cNvSpPr/>
      </dsp:nvSpPr>
      <dsp:spPr>
        <a:xfrm>
          <a:off x="4030316" y="1744064"/>
          <a:ext cx="2454966" cy="12274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Name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Role</a:t>
          </a:r>
        </a:p>
      </dsp:txBody>
      <dsp:txXfrm>
        <a:off x="4030316" y="1744064"/>
        <a:ext cx="2454966" cy="1227483"/>
      </dsp:txXfrm>
    </dsp:sp>
    <dsp:sp modelId="{0361E5B3-AF5F-4FF0-B7E5-C7723FC373CA}">
      <dsp:nvSpPr>
        <dsp:cNvPr id="0" name=""/>
        <dsp:cNvSpPr/>
      </dsp:nvSpPr>
      <dsp:spPr>
        <a:xfrm>
          <a:off x="7000826" y="1744064"/>
          <a:ext cx="2454966" cy="12274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Name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Role</a:t>
          </a:r>
        </a:p>
      </dsp:txBody>
      <dsp:txXfrm>
        <a:off x="7000826" y="1744064"/>
        <a:ext cx="2454966" cy="12274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1.07.2025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1.07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7EFC5-B4E1-09CE-E911-3D45286888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A31175-AC5E-475F-2DE2-D88675F7B4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6BCE3-915D-C3C5-3723-8D5655118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899F6F-6E4B-3C67-0C3D-B41C31D47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F59538-5C60-CCB7-DABC-40E3B855B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633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F25A5-A418-E8BE-5A59-B55519195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48F1E6-4AD3-7449-A838-1728C684E6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165E4C-F055-9D08-2B7F-A18B2936C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ADF0C2-9825-207D-BE0F-0B3E61FF4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211302-6912-AE4A-1A1F-55E07EC90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86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52531D3-702A-CDA1-5B46-6F4B773A99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D5EE5A-02B4-6A81-8B8E-814433DE1A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95DAC-C3F1-D156-DF7A-BD7391665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4EC75-44DD-8109-3712-0C7E8F5F1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8A3A32-516D-7A39-0F18-43F8391BF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76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1B1CA-5E9D-8B6C-0F0A-2022243C7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87D598-4E71-CD23-57B0-88BF6A1EC3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F7F844-0575-92D9-993C-25EE07D6A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C76DD-52C5-427E-E247-74A6C54E5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0E0ED9-16A7-8814-5D73-938F6F661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974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6F6A7-FE0E-761E-74B2-934C5327E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1AF643-EF88-5CC1-B128-28041FD49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E0B8A4-F753-0D16-A615-D30C97CE0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D59CC2-9F96-A52F-ACA9-4213F154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7D19E2-D570-67F5-B924-B71C69239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02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AAD62-29E6-12C1-4E74-7ED02FC0F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3BF5B8-4B01-97F1-C0B8-726FFE5BA3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8620F5-4F3B-9870-6E60-84BCB1D71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9E11F-B379-EAEB-A0DD-85238DEF0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54416C-961E-414C-12E2-E4540C566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89E857-9454-151E-AD14-50E69C133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37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BF752-413A-3100-F1B3-BBC654D9F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6FD28-4A73-FE6A-F7C2-79A3920C17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542F2F-6E11-FCA0-28AF-0F7900EA99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3536D4-85CA-B0EB-653B-415C344C26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BCCEC1-84BC-7E97-A729-FAF436AC1E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C2403F-49BF-5214-2F5B-82CCF991C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BBBFE6-4A24-FB35-4E8E-65E235D36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598245-FF12-08A0-4506-A9EE44D7C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063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10F78-B747-BC76-34F0-3FDB69322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F8DC24-2494-2454-A66D-709A0F708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714773-E90D-2F38-B750-11964F392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8FE88E-89E0-7891-76E1-69474287B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991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94B70D-3CDE-5967-B04B-D78ECEBCD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0F06CA-02B8-84DE-7585-C04A9BA0B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7CC7A-C5E3-90E1-CFFD-440149A0B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449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424FE-1B77-12FB-1829-20F726745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A43491-BB32-EAD5-9D51-77585705C2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BB3D3B-F704-8C98-2918-A3476F29DD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FCF12-F586-F85C-3C51-1E26F642A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A6686C-484E-DC4C-34C0-3E4C10187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2A9C00-650A-5AE6-299B-18AC8FBE6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110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47980E-FEB3-B939-8CD7-0DA2BB48A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124FD6-4DFA-FF05-CAC8-3745D31BBE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AB9E52-5FF8-6771-1C40-B19F4F8DF6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9E9DD6-3A5F-E624-0197-FC71C2148A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25E697-ACF5-4AA0-E55F-CE07BED37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C46B31-6B68-AF18-B409-76AD715A4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63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A12D0E-2B2A-36AB-6862-5961E64A7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ED006-DE39-6764-0C46-01F1F6B07B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BD8127-A7F5-7467-B5E7-7B29468C0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A5BC90-2A65-4F05-967B-F29A5E4F6C64}" type="datetimeFigureOut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F2603-23C6-D03F-051F-0B01E1D1B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63D5C9-02EA-69D3-5526-B22F207764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93B06C2-A627-4B3B-A326-E988BA0E03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535882-C299-375B-37D4-8D3070391CE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2960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keholdermap.com/project-templates/project-assumptions-template.html" TargetMode="External"/><Relationship Id="rId2" Type="http://schemas.openxmlformats.org/officeDocument/2006/relationships/hyperlink" Target="https://www.stakeholdermap.com/project-templates/business-case-template.html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A0146E6-C572-9BAA-CB3E-58C5C28FE4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Xxx</a:t>
            </a:r>
            <a:r>
              <a:rPr lang="en-US" dirty="0"/>
              <a:t> Project Kick-off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796A890A-4016-D427-5475-37E2E7A41A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BD10F-A349-7DCA-CCFF-72D2FF664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A68BA0-C8B1-269A-2035-194B8A5876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GroupTN Condensed Pro"/>
              </a:rPr>
              <a:t>Immediate actions post-kickoff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GroupTN Condensed Pro"/>
              </a:rPr>
              <a:t>Schedule for follow-up meeting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GroupTN Condensed Pro"/>
              </a:rPr>
              <a:t>Contact information for support</a:t>
            </a:r>
          </a:p>
        </p:txBody>
      </p:sp>
    </p:spTree>
    <p:extLst>
      <p:ext uri="{BB962C8B-B14F-4D97-AF65-F5344CB8AC3E}">
        <p14:creationId xmlns:p14="http://schemas.microsoft.com/office/powerpoint/2010/main" val="2229376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6B571-6BE1-88E6-8AD9-E9109AB79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A766CD-CF41-FBC9-96F4-C1070A7EFD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GroupTN Condensed Pro"/>
              </a:rPr>
              <a:t>Open floor for ques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GroupTN Condensed Pro"/>
              </a:rPr>
              <a:t>Address any concerns</a:t>
            </a:r>
          </a:p>
        </p:txBody>
      </p:sp>
    </p:spTree>
    <p:extLst>
      <p:ext uri="{BB962C8B-B14F-4D97-AF65-F5344CB8AC3E}">
        <p14:creationId xmlns:p14="http://schemas.microsoft.com/office/powerpoint/2010/main" val="43351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89B13-A132-1317-77D4-0430D0A0A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ment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79A5C8-9DAA-D26C-8141-FAE4BF2181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eting purpose</a:t>
            </a:r>
          </a:p>
          <a:p>
            <a:r>
              <a:rPr lang="en-US" dirty="0"/>
              <a:t>Information / Decision</a:t>
            </a:r>
          </a:p>
        </p:txBody>
      </p:sp>
    </p:spTree>
    <p:extLst>
      <p:ext uri="{BB962C8B-B14F-4D97-AF65-F5344CB8AC3E}">
        <p14:creationId xmlns:p14="http://schemas.microsoft.com/office/powerpoint/2010/main" val="193225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5918A-21D4-AD5B-AA27-97A8FAF0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FC98D7-28F8-35A7-26EC-EA860A895D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r>
              <a:rPr lang="en-US" dirty="0"/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1264504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E3269-B251-1E65-9074-F40554D3F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5B9A77-FA12-42CA-8764-1C3A80CB71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Scope</a:t>
            </a:r>
          </a:p>
          <a:p>
            <a:r>
              <a:rPr lang="en-US" dirty="0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573544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7A408-4334-AF82-656B-21B835BA0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1A6D37-06DB-CA28-C35B-7210B7243B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  <a:p>
            <a:r>
              <a:rPr lang="en-US" dirty="0"/>
              <a:t>Work Packages / Phases</a:t>
            </a:r>
          </a:p>
          <a:p>
            <a:r>
              <a:rPr lang="en-US" dirty="0"/>
              <a:t>Milestones</a:t>
            </a:r>
          </a:p>
          <a:p>
            <a:r>
              <a:rPr lang="en-US" dirty="0"/>
              <a:t>Key outcomes / Deliverables</a:t>
            </a:r>
          </a:p>
        </p:txBody>
      </p:sp>
    </p:spTree>
    <p:extLst>
      <p:ext uri="{BB962C8B-B14F-4D97-AF65-F5344CB8AC3E}">
        <p14:creationId xmlns:p14="http://schemas.microsoft.com/office/powerpoint/2010/main" val="548411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B7AA0-BC73-0B19-39EE-4270707BF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Risks &amp; Mitigation Strategi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E6B87CF-8F33-6F26-C8E2-175010FE94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005745"/>
              </p:ext>
            </p:extLst>
          </p:nvPr>
        </p:nvGraphicFramePr>
        <p:xfrm>
          <a:off x="599660" y="2622093"/>
          <a:ext cx="10515600" cy="2185908"/>
        </p:xfrm>
        <a:graphic>
          <a:graphicData uri="http://schemas.openxmlformats.org/drawingml/2006/table">
            <a:tbl>
              <a:tblPr/>
              <a:tblGrid>
                <a:gridCol w="164609">
                  <a:extLst>
                    <a:ext uri="{9D8B030D-6E8A-4147-A177-3AD203B41FA5}">
                      <a16:colId xmlns:a16="http://schemas.microsoft.com/office/drawing/2014/main" val="451327658"/>
                    </a:ext>
                  </a:extLst>
                </a:gridCol>
                <a:gridCol w="648752">
                  <a:extLst>
                    <a:ext uri="{9D8B030D-6E8A-4147-A177-3AD203B41FA5}">
                      <a16:colId xmlns:a16="http://schemas.microsoft.com/office/drawing/2014/main" val="3653963835"/>
                    </a:ext>
                  </a:extLst>
                </a:gridCol>
                <a:gridCol w="1723551">
                  <a:extLst>
                    <a:ext uri="{9D8B030D-6E8A-4147-A177-3AD203B41FA5}">
                      <a16:colId xmlns:a16="http://schemas.microsoft.com/office/drawing/2014/main" val="3929262067"/>
                    </a:ext>
                  </a:extLst>
                </a:gridCol>
                <a:gridCol w="542241">
                  <a:extLst>
                    <a:ext uri="{9D8B030D-6E8A-4147-A177-3AD203B41FA5}">
                      <a16:colId xmlns:a16="http://schemas.microsoft.com/office/drawing/2014/main" val="3024943973"/>
                    </a:ext>
                  </a:extLst>
                </a:gridCol>
                <a:gridCol w="542241">
                  <a:extLst>
                    <a:ext uri="{9D8B030D-6E8A-4147-A177-3AD203B41FA5}">
                      <a16:colId xmlns:a16="http://schemas.microsoft.com/office/drawing/2014/main" val="4043679249"/>
                    </a:ext>
                  </a:extLst>
                </a:gridCol>
                <a:gridCol w="561607">
                  <a:extLst>
                    <a:ext uri="{9D8B030D-6E8A-4147-A177-3AD203B41FA5}">
                      <a16:colId xmlns:a16="http://schemas.microsoft.com/office/drawing/2014/main" val="2641911144"/>
                    </a:ext>
                  </a:extLst>
                </a:gridCol>
                <a:gridCol w="658435">
                  <a:extLst>
                    <a:ext uri="{9D8B030D-6E8A-4147-A177-3AD203B41FA5}">
                      <a16:colId xmlns:a16="http://schemas.microsoft.com/office/drawing/2014/main" val="2412365245"/>
                    </a:ext>
                  </a:extLst>
                </a:gridCol>
                <a:gridCol w="1801014">
                  <a:extLst>
                    <a:ext uri="{9D8B030D-6E8A-4147-A177-3AD203B41FA5}">
                      <a16:colId xmlns:a16="http://schemas.microsoft.com/office/drawing/2014/main" val="2940071467"/>
                    </a:ext>
                  </a:extLst>
                </a:gridCol>
                <a:gridCol w="1249091">
                  <a:extLst>
                    <a:ext uri="{9D8B030D-6E8A-4147-A177-3AD203B41FA5}">
                      <a16:colId xmlns:a16="http://schemas.microsoft.com/office/drawing/2014/main" val="1059092507"/>
                    </a:ext>
                  </a:extLst>
                </a:gridCol>
                <a:gridCol w="1210359">
                  <a:extLst>
                    <a:ext uri="{9D8B030D-6E8A-4147-A177-3AD203B41FA5}">
                      <a16:colId xmlns:a16="http://schemas.microsoft.com/office/drawing/2014/main" val="1144495341"/>
                    </a:ext>
                  </a:extLst>
                </a:gridCol>
                <a:gridCol w="464778">
                  <a:extLst>
                    <a:ext uri="{9D8B030D-6E8A-4147-A177-3AD203B41FA5}">
                      <a16:colId xmlns:a16="http://schemas.microsoft.com/office/drawing/2014/main" val="4040660311"/>
                    </a:ext>
                  </a:extLst>
                </a:gridCol>
                <a:gridCol w="948922">
                  <a:extLst>
                    <a:ext uri="{9D8B030D-6E8A-4147-A177-3AD203B41FA5}">
                      <a16:colId xmlns:a16="http://schemas.microsoft.com/office/drawing/2014/main" val="966036813"/>
                    </a:ext>
                  </a:extLst>
                </a:gridCol>
              </a:tblGrid>
              <a:tr h="733478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raised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sk description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kelihood of the risk occurring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 if the risk occurs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  <a:b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ating based on impact &amp; likelihood.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</a:t>
                      </a:r>
                      <a:br>
                        <a:rPr lang="en-US" sz="800" b="0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erson who will manage the risk. 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igating action</a:t>
                      </a:r>
                      <a:b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ctions to mitigate the risk e.g. reduce the likelihood.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ingent action</a:t>
                      </a:r>
                      <a:b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ction to be taken if the risk happens.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ess on actions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ful resources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789278"/>
                  </a:ext>
                </a:extLst>
              </a:tr>
              <a:tr h="726215">
                <a:tc>
                  <a:txBody>
                    <a:bodyPr/>
                    <a:lstStyle/>
                    <a:p>
                      <a:pPr algn="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enter date]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purpose and need is not well-defined.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Sponsor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 a business case if not already provided and ensure purpose is well defined on Project Charter and PID. 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calate to the Project Board with an assessment of the risk of runaway costs/never-ending project. 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case re-written with clear deliverables and submitted to the project board for approval. 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"/>
                        </a:rPr>
                        <a:t>Business Case Template</a:t>
                      </a:r>
                      <a:endParaRPr lang="en-US" sz="8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957132"/>
                  </a:ext>
                </a:extLst>
              </a:tr>
              <a:tr h="726215">
                <a:tc>
                  <a:txBody>
                    <a:bodyPr/>
                    <a:lstStyle/>
                    <a:p>
                      <a:pPr algn="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enter date]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design and deliverable definition is incomplete.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Sponsor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ine the scope in detail via design workshops with input from subject matter experts. 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ument assumptions made and associated risks. Request high risk items that are ill-defined are removed from scope. 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ign workshops scheduled.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</a:t>
                      </a: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Assumptions Log</a:t>
                      </a:r>
                      <a:endParaRPr lang="en-US" sz="8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10" marR="5810" marT="5810" marB="34858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63488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5E2761-906D-1090-E92B-02B6B4315DAE}"/>
              </a:ext>
            </a:extLst>
          </p:cNvPr>
          <p:cNvSpPr txBox="1"/>
          <p:nvPr/>
        </p:nvSpPr>
        <p:spPr>
          <a:xfrm>
            <a:off x="838200" y="1987826"/>
            <a:ext cx="33123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ample risk register</a:t>
            </a:r>
          </a:p>
        </p:txBody>
      </p:sp>
    </p:spTree>
    <p:extLst>
      <p:ext uri="{BB962C8B-B14F-4D97-AF65-F5344CB8AC3E}">
        <p14:creationId xmlns:p14="http://schemas.microsoft.com/office/powerpoint/2010/main" val="2173238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F2A98-3FFF-563D-5A04-0A0C8FA38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Structure / Roles &amp; Responsibiliti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E3AFAC0-E9CF-8439-BEDD-FA298F93CC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1218344"/>
              </p:ext>
            </p:extLst>
          </p:nvPr>
        </p:nvGraphicFramePr>
        <p:xfrm>
          <a:off x="838200" y="3204375"/>
          <a:ext cx="10515600" cy="2972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1AC2708-0CAC-C0F4-2C4D-EB04E8A3AE43}"/>
              </a:ext>
            </a:extLst>
          </p:cNvPr>
          <p:cNvSpPr/>
          <p:nvPr/>
        </p:nvSpPr>
        <p:spPr>
          <a:xfrm>
            <a:off x="2496709" y="2021619"/>
            <a:ext cx="2274073" cy="71561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onso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941B17-427C-4D14-50A8-0F5546362D8D}"/>
              </a:ext>
            </a:extLst>
          </p:cNvPr>
          <p:cNvSpPr/>
          <p:nvPr/>
        </p:nvSpPr>
        <p:spPr>
          <a:xfrm>
            <a:off x="5137867" y="2023607"/>
            <a:ext cx="2274073" cy="71561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onsor 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53B9C0-DE03-9E81-206F-CC42BF40CE40}"/>
              </a:ext>
            </a:extLst>
          </p:cNvPr>
          <p:cNvSpPr/>
          <p:nvPr/>
        </p:nvSpPr>
        <p:spPr>
          <a:xfrm>
            <a:off x="7779025" y="2021619"/>
            <a:ext cx="2274073" cy="71561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onsor 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29B562-954E-F661-FE47-D7C17DAEB4CE}"/>
              </a:ext>
            </a:extLst>
          </p:cNvPr>
          <p:cNvSpPr txBox="1"/>
          <p:nvPr/>
        </p:nvSpPr>
        <p:spPr>
          <a:xfrm>
            <a:off x="659958" y="2021619"/>
            <a:ext cx="147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eering Committ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72816B-A180-4923-1034-77513385C67D}"/>
              </a:ext>
            </a:extLst>
          </p:cNvPr>
          <p:cNvSpPr txBox="1"/>
          <p:nvPr/>
        </p:nvSpPr>
        <p:spPr>
          <a:xfrm>
            <a:off x="659958" y="3105834"/>
            <a:ext cx="1478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 Team</a:t>
            </a:r>
          </a:p>
        </p:txBody>
      </p:sp>
    </p:spTree>
    <p:extLst>
      <p:ext uri="{BB962C8B-B14F-4D97-AF65-F5344CB8AC3E}">
        <p14:creationId xmlns:p14="http://schemas.microsoft.com/office/powerpoint/2010/main" val="526061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807662-680E-6701-FA33-AF9ACFC0F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Plan</a:t>
            </a:r>
          </a:p>
        </p:txBody>
      </p:sp>
      <p:pic>
        <p:nvPicPr>
          <p:cNvPr id="1026" name="Picture 2" descr="Simple matrix communication plan example">
            <a:extLst>
              <a:ext uri="{FF2B5EF4-FFF2-40B4-BE49-F238E27FC236}">
                <a16:creationId xmlns:a16="http://schemas.microsoft.com/office/drawing/2014/main" id="{84103568-C847-A3C8-EE07-6F43B435C6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30400"/>
            <a:ext cx="12192000" cy="299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6376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37874-8082-C83A-FA4D-F986CB16D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llaboration Tools Proposa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D5546-E0DD-B3DA-996B-CF5CAC3E8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GroupTN Condensed Pro"/>
              </a:rPr>
              <a:t>Communication Tools</a:t>
            </a:r>
            <a:r>
              <a:rPr lang="en-US" b="0" i="0" dirty="0">
                <a:effectLst/>
                <a:latin typeface="BMWGroupTN Condensed Pro"/>
              </a:rPr>
              <a:t>: Slack, Microsoft Tea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GroupTN Condensed Pro"/>
              </a:rPr>
              <a:t>Project Management Tools</a:t>
            </a:r>
            <a:r>
              <a:rPr lang="en-US" b="0" i="0" dirty="0">
                <a:effectLst/>
                <a:latin typeface="BMWGroupTN Condensed Pro"/>
              </a:rPr>
              <a:t>: Trello, Asana, JIR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GroupTN Condensed Pro"/>
              </a:rPr>
              <a:t>Document Sharing</a:t>
            </a:r>
            <a:r>
              <a:rPr lang="en-US" b="0" i="0" dirty="0">
                <a:effectLst/>
                <a:latin typeface="BMWGroupTN Condensed Pro"/>
              </a:rPr>
              <a:t>: Google Drive, SharePoint, Confluence…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DBC7EC-0916-E68B-119F-7DD3D351ACF8}"/>
              </a:ext>
            </a:extLst>
          </p:cNvPr>
          <p:cNvSpPr txBox="1"/>
          <p:nvPr/>
        </p:nvSpPr>
        <p:spPr>
          <a:xfrm>
            <a:off x="1131074" y="4073906"/>
            <a:ext cx="6094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chemeClr val="bg1">
                    <a:lumMod val="50000"/>
                  </a:schemeClr>
                </a:solidFill>
                <a:effectLst/>
                <a:latin typeface="BMWGroupTN Condensed Pro"/>
              </a:rPr>
              <a:t>Benefits of each tool</a:t>
            </a:r>
          </a:p>
          <a:p>
            <a:pPr algn="l"/>
            <a:r>
              <a:rPr lang="en-US" b="0" i="0" dirty="0">
                <a:solidFill>
                  <a:schemeClr val="bg1">
                    <a:lumMod val="50000"/>
                  </a:schemeClr>
                </a:solidFill>
                <a:effectLst/>
                <a:latin typeface="BMWGroupTN Condensed Pro"/>
              </a:rPr>
              <a:t>Implementation plan like folder structure, etc.</a:t>
            </a:r>
          </a:p>
        </p:txBody>
      </p:sp>
    </p:spTree>
    <p:extLst>
      <p:ext uri="{BB962C8B-B14F-4D97-AF65-F5344CB8AC3E}">
        <p14:creationId xmlns:p14="http://schemas.microsoft.com/office/powerpoint/2010/main" val="4285431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C7A004A65E0247B4DF6C1E6F395C46" ma:contentTypeVersion="18" ma:contentTypeDescription="Create a new document." ma:contentTypeScope="" ma:versionID="315782b6bb3d9a4d677d0bd601908b1d">
  <xsd:schema xmlns:xsd="http://www.w3.org/2001/XMLSchema" xmlns:xs="http://www.w3.org/2001/XMLSchema" xmlns:p="http://schemas.microsoft.com/office/2006/metadata/properties" xmlns:ns2="15bdf4df-a088-46c3-b034-f08202ceb656" xmlns:ns3="0190c604-8d72-4120-ba26-aaefc9bfefc0" targetNamespace="http://schemas.microsoft.com/office/2006/metadata/properties" ma:root="true" ma:fieldsID="58b6559cfeba5d32506102bcd9852227" ns2:_="" ns3:_="">
    <xsd:import namespace="15bdf4df-a088-46c3-b034-f08202ceb656"/>
    <xsd:import namespace="0190c604-8d72-4120-ba26-aaefc9bfef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df4df-a088-46c3-b034-f08202ceb6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96b8e5b-1f52-4d89-9d30-0680d0269b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90c604-8d72-4120-ba26-aaefc9bfefc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aeb4774-4722-4f5c-a97d-6e3ee29f8944}" ma:internalName="TaxCatchAll" ma:showField="CatchAllData" ma:web="0190c604-8d72-4120-ba26-aaefc9bfef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190c604-8d72-4120-ba26-aaefc9bfefc0" xsi:nil="true"/>
    <lcf76f155ced4ddcb4097134ff3c332f xmlns="15bdf4df-a088-46c3-b034-f08202ceb65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74C2822-4935-4DE5-B354-9C31810A65C4}"/>
</file>

<file path=customXml/itemProps3.xml><?xml version="1.0" encoding="utf-8"?>
<ds:datastoreItem xmlns:ds="http://schemas.openxmlformats.org/officeDocument/2006/customXml" ds:itemID="{8BCFCD65-5E41-44CF-873A-DAEC5C00A6EC}">
  <ds:schemaRefs>
    <ds:schemaRef ds:uri="http://purl.org/dc/terms/"/>
    <ds:schemaRef ds:uri="3b59e19a-dcf5-4e1f-af4e-97f1615661e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46efc58d-653a-435a-a55c-60d45d00242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0</Words>
  <Application>Microsoft Office PowerPoint</Application>
  <PresentationFormat>Widescreen</PresentationFormat>
  <Paragraphs>82</Paragraphs>
  <Slides>1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BMWGroupTN Condensed Pro</vt:lpstr>
      <vt:lpstr>Aptos</vt:lpstr>
      <vt:lpstr>Aptos Display</vt:lpstr>
      <vt:lpstr>Arial</vt:lpstr>
      <vt:lpstr>BMW Group Condensed</vt:lpstr>
      <vt:lpstr>BMWGroupTN Condensed</vt:lpstr>
      <vt:lpstr>Calibri</vt:lpstr>
      <vt:lpstr>Custom Design</vt:lpstr>
      <vt:lpstr>Xxx Project Kick-off</vt:lpstr>
      <vt:lpstr>Management Summary</vt:lpstr>
      <vt:lpstr>Overview</vt:lpstr>
      <vt:lpstr>Scope</vt:lpstr>
      <vt:lpstr>Schedule</vt:lpstr>
      <vt:lpstr>Risks &amp; Mitigation Strategies</vt:lpstr>
      <vt:lpstr>Team Structure / Roles &amp; Responsibilities</vt:lpstr>
      <vt:lpstr>Communication Plan</vt:lpstr>
      <vt:lpstr>Collaboration Tools Proposal</vt:lpstr>
      <vt:lpstr>Next Steps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o Zach, EC-DE-72</dc:creator>
  <cp:lastModifiedBy>Shao Zach, EC-DE-72</cp:lastModifiedBy>
  <cp:revision>1</cp:revision>
  <dcterms:created xsi:type="dcterms:W3CDTF">2025-07-01T01:09:55Z</dcterms:created>
  <dcterms:modified xsi:type="dcterms:W3CDTF">2025-07-01T01:5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C7A004A65E0247B4DF6C1E6F395C46</vt:lpwstr>
  </property>
  <property fmtid="{D5CDD505-2E9C-101B-9397-08002B2CF9AE}" pid="3" name="MSIP_Label_e6935750-240b-48e4-a615-66942a738439_Enabled">
    <vt:lpwstr>true</vt:lpwstr>
  </property>
  <property fmtid="{D5CDD505-2E9C-101B-9397-08002B2CF9AE}" pid="4" name="MSIP_Label_e6935750-240b-48e4-a615-66942a738439_SetDate">
    <vt:lpwstr>2025-07-01T01:54:13Z</vt:lpwstr>
  </property>
  <property fmtid="{D5CDD505-2E9C-101B-9397-08002B2CF9AE}" pid="5" name="MSIP_Label_e6935750-240b-48e4-a615-66942a738439_Method">
    <vt:lpwstr>Standard</vt:lpwstr>
  </property>
  <property fmtid="{D5CDD505-2E9C-101B-9397-08002B2CF9AE}" pid="6" name="MSIP_Label_e6935750-240b-48e4-a615-66942a738439_Name">
    <vt:lpwstr>e6935750-240b-48e4-a615-66942a738439</vt:lpwstr>
  </property>
  <property fmtid="{D5CDD505-2E9C-101B-9397-08002B2CF9AE}" pid="7" name="MSIP_Label_e6935750-240b-48e4-a615-66942a738439_SiteId">
    <vt:lpwstr>ce849bab-cc1c-465b-b62e-18f07c9ac198</vt:lpwstr>
  </property>
  <property fmtid="{D5CDD505-2E9C-101B-9397-08002B2CF9AE}" pid="8" name="MSIP_Label_e6935750-240b-48e4-a615-66942a738439_ActionId">
    <vt:lpwstr>380d0806-7444-4e25-b883-cf9ee6a8c414</vt:lpwstr>
  </property>
  <property fmtid="{D5CDD505-2E9C-101B-9397-08002B2CF9AE}" pid="9" name="MSIP_Label_e6935750-240b-48e4-a615-66942a738439_ContentBits">
    <vt:lpwstr>2</vt:lpwstr>
  </property>
  <property fmtid="{D5CDD505-2E9C-101B-9397-08002B2CF9AE}" pid="10" name="ClassificationContentMarkingFooterLocations">
    <vt:lpwstr>Custom Design:8</vt:lpwstr>
  </property>
  <property fmtid="{D5CDD505-2E9C-101B-9397-08002B2CF9AE}" pid="11" name="ClassificationContentMarkingFooterText">
    <vt:lpwstr>CONFIDENTIAL</vt:lpwstr>
  </property>
</Properties>
</file>